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9" r:id="rId2"/>
  </p:sldMasterIdLst>
  <p:notesMasterIdLst>
    <p:notesMasterId r:id="rId8"/>
  </p:notesMasterIdLst>
  <p:sldIdLst>
    <p:sldId id="265" r:id="rId3"/>
    <p:sldId id="256" r:id="rId4"/>
    <p:sldId id="258" r:id="rId5"/>
    <p:sldId id="263" r:id="rId6"/>
    <p:sldId id="261" r:id="rId7"/>
  </p:sldIdLst>
  <p:sldSz cx="12192000" cy="6858000"/>
  <p:notesSz cx="6858000" cy="9144000"/>
  <p:custDataLst>
    <p:tags r:id="rId9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7F4D"/>
    <a:srgbClr val="A5A5A5"/>
    <a:srgbClr val="FFFFFF"/>
    <a:srgbClr val="D04A02"/>
    <a:srgbClr val="682500"/>
    <a:srgbClr val="863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10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E434F9-B73E-4409-98A3-C57EFEECD622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7931AB-FB79-4AD7-B75F-828FFA536F6D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53148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E05635-4EFD-4447-A451-86C57984FA89}" type="slidenum">
              <a:rPr kumimoji="0" lang="el-G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l-G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5754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6418E4-4C25-4193-BEEA-9060DB44B3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3B7E4B-599D-49CA-943A-47BCC7FC2A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A1AE6D-E1B1-461F-A26F-676667603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9EB788-E367-40FC-9951-75E2BD727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5A7DDE-DFC7-438F-AE35-08DB57F564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842092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76EF89-03C9-4C85-9D00-A2850DD7B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955031-EC93-4CB3-A8EA-E399CB736A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7A7A7E-5863-4CE2-9214-BB262A1C3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B939C0-A980-41F7-A4BF-BA0467AE4C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C0EB58-514E-4EAF-9C5C-0FF4C1CFAC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979555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D947DFE-AD3E-47BB-BDCD-C973AAA5ED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9BEB27-7FAA-4AA2-93A4-76F5D56E45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343C65-38CB-41E2-8709-3BE54EA8DF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6E10C7-775C-4B1F-9B68-B710698DC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B2DBFA-DD2D-407F-9085-2F2E3AF2F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3840687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l-GR" smtClean="0"/>
              <a:t>Κάντε κλικ για να επεξεργαστείτε τον υπότιτλο του υποδείγματος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F0BD9E-C351-45E8-BBBF-F5B4356998F6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659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CBE135-0528-4144-9A60-E759A3EE2F65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47490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Κεφαλίδα ενότητα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A44D0-7E62-4640-B6C5-F7748B3DD050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110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C4B74-32AE-4C37-81E9-95CAE9F4527B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54305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134D2-5EF7-4CD5-AE59-01C25F7EB530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48040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D049CC-09F3-4330-9FF2-4301868895E8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95203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4BE631-DD0F-4ADC-8269-B9ADE48E26C9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41878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716F4EDA-9577-4604-B843-7B993996D81A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444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D8685-36CE-43F6-BC13-059071611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A91C3-34F7-4A3C-B7C2-29B67DAE1D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CFD827-F418-41B8-B5FC-AEDA88BBED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90FD35-9836-413A-B5C3-BF4529F6D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59A6B1-2A2E-418D-BB1F-E02572814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5835355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l-GR" smtClean="0"/>
              <a:t>Κάντε κλικ στο εικονίδιο για να προσθέσετε εικόνα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Επεξεργασία στυλ υποδείγματος κειμένου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3B403-AE00-4A23-92E1-A3AFDDB42CFE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49185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C9706-0ED5-43B1-8BD5-966B0419344E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0977646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C9706-0ED5-43B1-8BD5-966B0419344E}" type="datetime1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l-GR" smtClean="0"/>
              <a:t>Προσθήκη υποσέλιδου</a:t>
            </a:r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1CF334-2D5C-4859-84A6-CA7E6E43FAEB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52076969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FD17E5-A0A2-42A2-B4C6-333DB0D9B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56FA3A-96EB-4BB9-AEC3-0F1CD86979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63CE82-B830-4564-AF48-12EC934CF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D646A1-81B8-4D31-8559-080F4BF09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C91975-75D9-4D9A-990F-11CB9036E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366241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10D80-2C3E-4143-9FA3-19BC679012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D84E06-2B20-4270-A674-DC7CACCF71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977E30-EB1B-4EE3-AFB8-C375CBAFDA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CB293-1FF5-4027-8A9E-F01870027D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CDA927E-9B65-4FCD-80CF-9C225FEEFB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210301-3DC9-4781-8C1A-215B74939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362764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B2DA2-A6F8-4477-83B7-C2D81C118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F0B0AD-88E2-4E9E-9C38-3DFFCF0663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42A0B2-5054-4182-82A8-14231C9126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ECA166-67F2-4F87-BC71-92B7678C96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661BE6-2F87-480D-8AAE-4A5A2C5787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AF1F5C-5622-4004-929C-DDE1D88F0E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A672B90-107B-41C5-942C-4624CC8C0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7EAC05-0D7A-40CB-9137-BAA957B99F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0374165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893A8A-E561-4F69-8562-7A0F6189C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AB52A0-CDEF-4287-81A1-42D72BE0B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A7E5770-A678-4CF1-B571-9FAE023F7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8F1E7A-1672-4C88-A741-E0CF7B5E7B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167296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5F840C8-2AFB-4AF8-800E-6EEE7ED51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634F64-98D6-4EF4-848B-D49F8A7FA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78234A-B54A-4347-A42D-A608036C8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84471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C4B592-B0CC-4B49-8D8C-04C97AA26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F2012-D5DE-499E-BC81-2D1CE7263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CBF804-2E9C-4D83-BB28-AB0D43434A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8854212-9532-4078-8487-5604EA0345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66D147-7A8D-4115-8349-9141C0E15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9C3A3D-9AFA-404B-A6E5-044C0CC12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3068755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DF8C8D-A937-43F5-A239-D0686260A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D0D74F-677B-4A9B-AF14-1499A978FC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3922EA-CEC7-480C-8134-2A83BF6488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7F392E-9B86-4D18-BED1-635CE7100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7D2370-2CAA-4C7F-A1A9-CC8C7637B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B08247-9C01-47CB-8494-F6843262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431521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D68EB51-4249-46B6-A3A4-E81605011A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9551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10F088-01C6-43F3-AFD7-C4F1F85E0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956109-6255-4C12-B224-2176931EFB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F85BD4-F131-493C-9647-2F53B71514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1D5DA8-7518-4FB7-BB8D-BC0158F19E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7134E1-EB64-4154-8D2C-1B3E6A0419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775700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D1573D5F-F78F-4289-85E9-08EB587DFAEE}" type="datetimeFigureOut">
              <a:rPr lang="el-GR" smtClean="0"/>
              <a:t>2/8/2023</a:t>
            </a:fld>
            <a:endParaRPr lang="el-G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l-G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B3F4D56A-BE43-481E-8ED5-853503B68C79}" type="slidenum">
              <a:rPr lang="el-GR" smtClean="0"/>
              <a:t>‹#›</a:t>
            </a:fld>
            <a:endParaRPr lang="el-GR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6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Τίτλος 2"/>
          <p:cNvSpPr>
            <a:spLocks noGrp="1"/>
          </p:cNvSpPr>
          <p:nvPr>
            <p:ph type="ctrTitle"/>
          </p:nvPr>
        </p:nvSpPr>
        <p:spPr>
          <a:xfrm>
            <a:off x="2589211" y="2356339"/>
            <a:ext cx="8915399" cy="1934308"/>
          </a:xfrm>
        </p:spPr>
        <p:txBody>
          <a:bodyPr rtlCol="0">
            <a:normAutofit/>
          </a:bodyPr>
          <a:lstStyle/>
          <a:p>
            <a:r>
              <a:rPr lang="el-GR" sz="4000" kern="0" dirty="0">
                <a:solidFill>
                  <a:srgbClr val="DB7F4D"/>
                </a:solidFill>
                <a:latin typeface="Georgia"/>
                <a:sym typeface="Georgia"/>
              </a:rPr>
              <a:t>Διεύθυνση Διαχείρισης Εθνικού Προγράμματος Δημοσίων Επενδύσεων (ΔιΔιΕΠ)</a:t>
            </a:r>
            <a:endParaRPr lang="el-GR" sz="4000" dirty="0">
              <a:solidFill>
                <a:srgbClr val="DB7F4D"/>
              </a:solidFill>
            </a:endParaRPr>
          </a:p>
        </p:txBody>
      </p:sp>
      <p:sp>
        <p:nvSpPr>
          <p:cNvPr id="4" name="Υπότιτλος 3"/>
          <p:cNvSpPr>
            <a:spLocks noGrp="1"/>
          </p:cNvSpPr>
          <p:nvPr>
            <p:ph type="subTitle" idx="1"/>
          </p:nvPr>
        </p:nvSpPr>
        <p:spPr>
          <a:xfrm>
            <a:off x="2589212" y="4430456"/>
            <a:ext cx="8915399" cy="1126283"/>
          </a:xfrm>
        </p:spPr>
        <p:txBody>
          <a:bodyPr rtlCol="0"/>
          <a:lstStyle/>
          <a:p>
            <a:r>
              <a:rPr lang="el-GR" sz="2800" b="1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ΟΓΡΑΜΜΑ</a:t>
            </a:r>
            <a:endParaRPr lang="el-GR" dirty="0">
              <a:latin typeface="Calibri" panose="020F0502020204030204" pitchFamily="34" charset="0"/>
            </a:endParaRPr>
          </a:p>
        </p:txBody>
      </p:sp>
      <p:pic>
        <p:nvPicPr>
          <p:cNvPr id="5" name="Picture 32">
            <a:extLst>
              <a:ext uri="{FF2B5EF4-FFF2-40B4-BE49-F238E27FC236}">
                <a16:creationId xmlns:a16="http://schemas.microsoft.com/office/drawing/2014/main" id="{D66220AA-EA48-4640-A521-316525D44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2448" y="4971061"/>
            <a:ext cx="2322162" cy="1171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134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282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Google Shape;1971;p27">
            <a:extLst>
              <a:ext uri="{FF2B5EF4-FFF2-40B4-BE49-F238E27FC236}">
                <a16:creationId xmlns:a16="http://schemas.microsoft.com/office/drawing/2014/main" id="{348F45F4-B6E6-4C1C-87E5-A48228D74CCE}"/>
              </a:ext>
            </a:extLst>
          </p:cNvPr>
          <p:cNvSpPr txBox="1">
            <a:spLocks/>
          </p:cNvSpPr>
          <p:nvPr/>
        </p:nvSpPr>
        <p:spPr>
          <a:xfrm>
            <a:off x="176137" y="103389"/>
            <a:ext cx="11307600" cy="7662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Georgia"/>
              <a:buNone/>
              <a:tabLst/>
              <a:defRPr/>
            </a:pPr>
            <a:r>
              <a:rPr kumimoji="0" lang="el-GR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sym typeface="Georgia"/>
              </a:rPr>
              <a:t>H Διεύθυνση Διαχείρισης Εθνικού Προγράμματος Δημοσίων Επενδύσεων (ΔιΔιΕΠ) έχει ως επιχειρησιακό στόχο το σχεδιασμό και την ορθή υλοποίηση προγραμμάτων ανάπτυξης χρηματοδοτούμενων από εθνικούς πόρους του ΠΔΕ</a:t>
            </a:r>
          </a:p>
        </p:txBody>
      </p:sp>
      <p:sp>
        <p:nvSpPr>
          <p:cNvPr id="70" name="Google Shape;1987;p27">
            <a:extLst>
              <a:ext uri="{FF2B5EF4-FFF2-40B4-BE49-F238E27FC236}">
                <a16:creationId xmlns:a16="http://schemas.microsoft.com/office/drawing/2014/main" id="{E6C975C7-AD85-4836-9F70-E73491E23787}"/>
              </a:ext>
            </a:extLst>
          </p:cNvPr>
          <p:cNvSpPr/>
          <p:nvPr/>
        </p:nvSpPr>
        <p:spPr>
          <a:xfrm>
            <a:off x="1213740" y="4692385"/>
            <a:ext cx="1634609" cy="82784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Σχεδιασμού και Αξιολόγησης ΕΠΑ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3" name="Google Shape;1990;p27">
            <a:extLst>
              <a:ext uri="{FF2B5EF4-FFF2-40B4-BE49-F238E27FC236}">
                <a16:creationId xmlns:a16="http://schemas.microsoft.com/office/drawing/2014/main" id="{6F9739A5-7665-42B3-BA93-52655CA04F5E}"/>
              </a:ext>
            </a:extLst>
          </p:cNvPr>
          <p:cNvSpPr/>
          <p:nvPr/>
        </p:nvSpPr>
        <p:spPr>
          <a:xfrm>
            <a:off x="3991433" y="4670462"/>
            <a:ext cx="1624102" cy="82784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ΠΑ</a:t>
            </a:r>
            <a:endParaRPr kumimoji="0" lang="el-GR" sz="10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6" name="Google Shape;1997;p27">
            <a:extLst>
              <a:ext uri="{FF2B5EF4-FFF2-40B4-BE49-F238E27FC236}">
                <a16:creationId xmlns:a16="http://schemas.microsoft.com/office/drawing/2014/main" id="{33839F52-6F9F-413D-A659-5C9E7AB47206}"/>
              </a:ext>
            </a:extLst>
          </p:cNvPr>
          <p:cNvCxnSpPr>
            <a:cxnSpLocks/>
          </p:cNvCxnSpPr>
          <p:nvPr/>
        </p:nvCxnSpPr>
        <p:spPr>
          <a:xfrm rot="10800000">
            <a:off x="1700113" y="6367428"/>
            <a:ext cx="0" cy="74100"/>
          </a:xfrm>
          <a:prstGeom prst="straightConnector1">
            <a:avLst/>
          </a:prstGeom>
          <a:noFill/>
          <a:ln w="9525" cap="flat" cmpd="sng">
            <a:solidFill>
              <a:srgbClr val="A5A5A5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95" name="Google Shape;2021;p27">
            <a:extLst>
              <a:ext uri="{FF2B5EF4-FFF2-40B4-BE49-F238E27FC236}">
                <a16:creationId xmlns:a16="http://schemas.microsoft.com/office/drawing/2014/main" id="{1A4D82AF-76B8-4C21-B54A-70C8B0E67327}"/>
              </a:ext>
            </a:extLst>
          </p:cNvPr>
          <p:cNvSpPr/>
          <p:nvPr/>
        </p:nvSpPr>
        <p:spPr>
          <a:xfrm>
            <a:off x="7252244" y="4670461"/>
            <a:ext cx="1384119" cy="82784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Τεχνικής Βοήθειας  και Υποστήριξης 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2" name="Google Shape;2041;p27">
            <a:extLst>
              <a:ext uri="{FF2B5EF4-FFF2-40B4-BE49-F238E27FC236}">
                <a16:creationId xmlns:a16="http://schemas.microsoft.com/office/drawing/2014/main" id="{C70F009C-BA92-4484-9C92-01D5B19A4456}"/>
              </a:ext>
            </a:extLst>
          </p:cNvPr>
          <p:cNvSpPr/>
          <p:nvPr/>
        </p:nvSpPr>
        <p:spPr>
          <a:xfrm>
            <a:off x="3801194" y="4596081"/>
            <a:ext cx="291912" cy="242736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9984295" y="6492240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2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4" name="Google Shape;1895;p26">
            <a:extLst>
              <a:ext uri="{FF2B5EF4-FFF2-40B4-BE49-F238E27FC236}">
                <a16:creationId xmlns:a16="http://schemas.microsoft.com/office/drawing/2014/main" id="{E86FF089-2CE4-477B-AE63-A55264DE2F64}"/>
              </a:ext>
            </a:extLst>
          </p:cNvPr>
          <p:cNvSpPr txBox="1"/>
          <p:nvPr/>
        </p:nvSpPr>
        <p:spPr>
          <a:xfrm>
            <a:off x="106532" y="1095418"/>
            <a:ext cx="4012044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</a:t>
            </a:r>
            <a:r>
              <a:rPr lang="el-GR" sz="1200" b="1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ΔιΔιΕΠ</a:t>
            </a:r>
            <a:endParaRPr dirty="0"/>
          </a:p>
        </p:txBody>
      </p:sp>
      <p:cxnSp>
        <p:nvCxnSpPr>
          <p:cNvPr id="25" name="Google Shape;1882;p26">
            <a:extLst>
              <a:ext uri="{FF2B5EF4-FFF2-40B4-BE49-F238E27FC236}">
                <a16:creationId xmlns:a16="http://schemas.microsoft.com/office/drawing/2014/main" id="{C12A81A4-F4D5-46E5-A9A8-5B067B196F29}"/>
              </a:ext>
            </a:extLst>
          </p:cNvPr>
          <p:cNvCxnSpPr>
            <a:cxnSpLocks/>
          </p:cNvCxnSpPr>
          <p:nvPr/>
        </p:nvCxnSpPr>
        <p:spPr>
          <a:xfrm>
            <a:off x="106532" y="1394552"/>
            <a:ext cx="11642553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42" name="Google Shape;1957;p26">
            <a:extLst>
              <a:ext uri="{FF2B5EF4-FFF2-40B4-BE49-F238E27FC236}">
                <a16:creationId xmlns:a16="http://schemas.microsoft.com/office/drawing/2014/main" id="{8FEA17D1-8A55-495E-B8CB-634FF77E3B54}"/>
              </a:ext>
            </a:extLst>
          </p:cNvPr>
          <p:cNvGrpSpPr/>
          <p:nvPr/>
        </p:nvGrpSpPr>
        <p:grpSpPr>
          <a:xfrm>
            <a:off x="8742504" y="1316603"/>
            <a:ext cx="132887" cy="122372"/>
            <a:chOff x="8181975" y="1582603"/>
            <a:chExt cx="132887" cy="122372"/>
          </a:xfrm>
        </p:grpSpPr>
        <p:sp>
          <p:nvSpPr>
            <p:cNvPr id="43" name="Google Shape;1958;p26">
              <a:extLst>
                <a:ext uri="{FF2B5EF4-FFF2-40B4-BE49-F238E27FC236}">
                  <a16:creationId xmlns:a16="http://schemas.microsoft.com/office/drawing/2014/main" id="{454FC84E-8725-4697-828E-1E8874683557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Google Shape;1959;p26">
              <a:extLst>
                <a:ext uri="{FF2B5EF4-FFF2-40B4-BE49-F238E27FC236}">
                  <a16:creationId xmlns:a16="http://schemas.microsoft.com/office/drawing/2014/main" id="{F7E2869A-84FE-4998-A279-B28B58C01BE7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A8EC4318-8DBA-4778-96CF-2FFD98C308D6}"/>
              </a:ext>
            </a:extLst>
          </p:cNvPr>
          <p:cNvSpPr/>
          <p:nvPr/>
        </p:nvSpPr>
        <p:spPr>
          <a:xfrm>
            <a:off x="223318" y="1632086"/>
            <a:ext cx="153196" cy="124678"/>
          </a:xfrm>
          <a:prstGeom prst="rect">
            <a:avLst/>
          </a:prstGeom>
          <a:solidFill>
            <a:srgbClr val="682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0ABAE16-5AC8-4E7D-BBD0-9BD5EF7B5B1C}"/>
              </a:ext>
            </a:extLst>
          </p:cNvPr>
          <p:cNvSpPr/>
          <p:nvPr/>
        </p:nvSpPr>
        <p:spPr>
          <a:xfrm>
            <a:off x="223318" y="1778883"/>
            <a:ext cx="153196" cy="124678"/>
          </a:xfrm>
          <a:prstGeom prst="rect">
            <a:avLst/>
          </a:prstGeom>
          <a:solidFill>
            <a:srgbClr val="863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3DC0CE4-76D7-4702-A85F-DA64F5716729}"/>
              </a:ext>
            </a:extLst>
          </p:cNvPr>
          <p:cNvSpPr/>
          <p:nvPr/>
        </p:nvSpPr>
        <p:spPr>
          <a:xfrm>
            <a:off x="223318" y="1925680"/>
            <a:ext cx="153196" cy="124678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3870AED-5E20-4936-A389-5B511025934B}"/>
              </a:ext>
            </a:extLst>
          </p:cNvPr>
          <p:cNvSpPr txBox="1"/>
          <p:nvPr/>
        </p:nvSpPr>
        <p:spPr>
          <a:xfrm>
            <a:off x="373857" y="1648913"/>
            <a:ext cx="2019300" cy="978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800" dirty="0">
                <a:latin typeface="Arial" panose="020B0604020202020204" pitchFamily="34" charset="0"/>
                <a:cs typeface="Arial" panose="020B0604020202020204" pitchFamily="34" charset="0"/>
              </a:rPr>
              <a:t>Υπουργείο ή Γενική Γραμματεία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F554BF2-E70A-4C52-BD46-15619F7EEAA6}"/>
              </a:ext>
            </a:extLst>
          </p:cNvPr>
          <p:cNvSpPr txBox="1"/>
          <p:nvPr/>
        </p:nvSpPr>
        <p:spPr>
          <a:xfrm>
            <a:off x="350049" y="1781069"/>
            <a:ext cx="2019600" cy="972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800" dirty="0">
                <a:latin typeface="Arial" panose="020B0604020202020204" pitchFamily="34" charset="0"/>
                <a:cs typeface="Arial" panose="020B0604020202020204" pitchFamily="34" charset="0"/>
              </a:rPr>
              <a:t>Γενική Δ/ση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99B719E-C7CB-4747-9351-04F590698888}"/>
              </a:ext>
            </a:extLst>
          </p:cNvPr>
          <p:cNvSpPr txBox="1"/>
          <p:nvPr/>
        </p:nvSpPr>
        <p:spPr>
          <a:xfrm>
            <a:off x="345501" y="1934039"/>
            <a:ext cx="2019600" cy="972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800" dirty="0">
                <a:latin typeface="Arial" panose="020B0604020202020204" pitchFamily="34" charset="0"/>
                <a:cs typeface="Arial" panose="020B0604020202020204" pitchFamily="34" charset="0"/>
              </a:rPr>
              <a:t>Δ/ση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9288589B-8D56-44CD-9FEC-950ACD4F86F3}"/>
              </a:ext>
            </a:extLst>
          </p:cNvPr>
          <p:cNvSpPr/>
          <p:nvPr/>
        </p:nvSpPr>
        <p:spPr>
          <a:xfrm>
            <a:off x="223318" y="2080298"/>
            <a:ext cx="153196" cy="124678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 cap="flat" cmpd="sng">
            <a:solidFill>
              <a:srgbClr val="7F7F7F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endParaRPr lang="el-GR" sz="1000" b="1" dirty="0">
              <a:solidFill>
                <a:schemeClr val="dk1"/>
              </a:solidFill>
              <a:latin typeface="Arial"/>
              <a:cs typeface="Arial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8C5F601-BAC7-472C-847C-0428FFBDB440}"/>
              </a:ext>
            </a:extLst>
          </p:cNvPr>
          <p:cNvSpPr txBox="1"/>
          <p:nvPr/>
        </p:nvSpPr>
        <p:spPr>
          <a:xfrm>
            <a:off x="366215" y="2096658"/>
            <a:ext cx="2019600" cy="972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800" dirty="0">
                <a:latin typeface="Arial" panose="020B0604020202020204" pitchFamily="34" charset="0"/>
                <a:cs typeface="Arial" panose="020B0604020202020204" pitchFamily="34" charset="0"/>
              </a:rPr>
              <a:t>Τμήμα</a:t>
            </a:r>
          </a:p>
        </p:txBody>
      </p:sp>
      <p:pic>
        <p:nvPicPr>
          <p:cNvPr id="2080" name="Picture 32">
            <a:extLst>
              <a:ext uri="{FF2B5EF4-FFF2-40B4-BE49-F238E27FC236}">
                <a16:creationId xmlns:a16="http://schemas.microsoft.com/office/drawing/2014/main" id="{EDA50019-E314-4801-9B61-179311C99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Ευθεία γραμμή σύνδεσης 5"/>
          <p:cNvCxnSpPr/>
          <p:nvPr/>
        </p:nvCxnSpPr>
        <p:spPr>
          <a:xfrm>
            <a:off x="4803484" y="2050358"/>
            <a:ext cx="0" cy="222941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Google Shape;1992;p27">
            <a:extLst>
              <a:ext uri="{FF2B5EF4-FFF2-40B4-BE49-F238E27FC236}">
                <a16:creationId xmlns:a16="http://schemas.microsoft.com/office/drawing/2014/main" id="{5745B9CE-B151-4C56-A611-055AC021FBC4}"/>
              </a:ext>
            </a:extLst>
          </p:cNvPr>
          <p:cNvSpPr/>
          <p:nvPr/>
        </p:nvSpPr>
        <p:spPr>
          <a:xfrm>
            <a:off x="2658077" y="1648913"/>
            <a:ext cx="4563317" cy="414149"/>
          </a:xfrm>
          <a:prstGeom prst="rect">
            <a:avLst/>
          </a:prstGeom>
          <a:solidFill>
            <a:srgbClr val="6825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1050" b="1" kern="0" dirty="0" smtClea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Υπουργείο</a:t>
            </a:r>
            <a:r>
              <a:rPr lang="en-US" sz="1050" b="1" kern="0" dirty="0" smtClea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 </a:t>
            </a:r>
            <a:r>
              <a:rPr lang="el-GR" sz="1050" b="1" kern="0" dirty="0" smtClea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Εθνικής Οικονομίας και Οικονομικών</a:t>
            </a:r>
            <a:endParaRPr sz="1050" b="1" kern="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5" name="Google Shape;1992;p27">
            <a:extLst>
              <a:ext uri="{FF2B5EF4-FFF2-40B4-BE49-F238E27FC236}">
                <a16:creationId xmlns:a16="http://schemas.microsoft.com/office/drawing/2014/main" id="{2C2AFB17-8810-48AE-B957-1991F4C480BB}"/>
              </a:ext>
            </a:extLst>
          </p:cNvPr>
          <p:cNvSpPr/>
          <p:nvPr/>
        </p:nvSpPr>
        <p:spPr>
          <a:xfrm>
            <a:off x="2658076" y="2279268"/>
            <a:ext cx="4563317" cy="414149"/>
          </a:xfrm>
          <a:prstGeom prst="rect">
            <a:avLst/>
          </a:prstGeom>
          <a:solidFill>
            <a:srgbClr val="6825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1050" b="1" kern="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Γενική Γραμματεία Δημόσιων Επενδύσεων &amp; ΕΣΠΑ</a:t>
            </a:r>
            <a:endParaRPr sz="1050" b="1" kern="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6" name="Google Shape;1992;p27">
            <a:extLst>
              <a:ext uri="{FF2B5EF4-FFF2-40B4-BE49-F238E27FC236}">
                <a16:creationId xmlns:a16="http://schemas.microsoft.com/office/drawing/2014/main" id="{FC2D4301-97EB-4743-AE36-DA31EA3B0850}"/>
              </a:ext>
            </a:extLst>
          </p:cNvPr>
          <p:cNvSpPr/>
          <p:nvPr/>
        </p:nvSpPr>
        <p:spPr>
          <a:xfrm>
            <a:off x="2656210" y="2893155"/>
            <a:ext cx="4596034" cy="447060"/>
          </a:xfrm>
          <a:prstGeom prst="rect">
            <a:avLst/>
          </a:prstGeom>
          <a:solidFill>
            <a:srgbClr val="863000"/>
          </a:solidFill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algn="ctr">
              <a:buClr>
                <a:srgbClr val="FFFFFF"/>
              </a:buClr>
              <a:buSzPts val="750"/>
            </a:pPr>
            <a:r>
              <a:rPr lang="el-GR" sz="1050" b="1" kern="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Γενική Διεύθυνση Δημόσιων Επενδύσεων</a:t>
            </a:r>
          </a:p>
          <a:p>
            <a:pPr algn="ctr">
              <a:buClr>
                <a:srgbClr val="FFFFFF"/>
              </a:buClr>
              <a:buSzPts val="750"/>
            </a:pPr>
            <a:r>
              <a:rPr lang="el-GR" sz="1050" b="1" kern="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 (Κεντρική Υπηρεσία Συντονισμού ΕΠΑ – ΥΣ ΕΠΑ) </a:t>
            </a:r>
            <a:endParaRPr sz="1050" b="1" kern="0" dirty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7" name="Google Shape;2021;p27">
            <a:extLst>
              <a:ext uri="{FF2B5EF4-FFF2-40B4-BE49-F238E27FC236}">
                <a16:creationId xmlns:a16="http://schemas.microsoft.com/office/drawing/2014/main" id="{487A469C-A35A-4627-8FC4-CA9F09576E27}"/>
              </a:ext>
            </a:extLst>
          </p:cNvPr>
          <p:cNvSpPr/>
          <p:nvPr/>
        </p:nvSpPr>
        <p:spPr>
          <a:xfrm>
            <a:off x="2625359" y="3539953"/>
            <a:ext cx="4596034" cy="486691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Διεύθυνση Διαχείρισης Εθνικού Προγράμματος Δημοσίων Επενδύσεων (</a:t>
            </a:r>
            <a:r>
              <a:rPr kumimoji="0" lang="el-GR" sz="105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ΔιΔιΕ</a:t>
            </a:r>
            <a:r>
              <a:rPr lang="el-GR" sz="1050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Π)</a:t>
            </a:r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1" name="Ευθεία γραμμή σύνδεσης 10"/>
          <p:cNvCxnSpPr/>
          <p:nvPr/>
        </p:nvCxnSpPr>
        <p:spPr>
          <a:xfrm>
            <a:off x="1894788" y="4279769"/>
            <a:ext cx="614627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Ευθύγραμμο βέλος σύνδεσης 22"/>
          <p:cNvCxnSpPr/>
          <p:nvPr/>
        </p:nvCxnSpPr>
        <p:spPr>
          <a:xfrm>
            <a:off x="1894788" y="4279769"/>
            <a:ext cx="0" cy="39069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Εικόνα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3697" y="3191235"/>
            <a:ext cx="164606" cy="475529"/>
          </a:xfrm>
          <a:prstGeom prst="rect">
            <a:avLst/>
          </a:prstGeom>
        </p:spPr>
      </p:pic>
      <p:cxnSp>
        <p:nvCxnSpPr>
          <p:cNvPr id="28" name="Ευθύγραμμο βέλος σύνδεσης 27"/>
          <p:cNvCxnSpPr>
            <a:endCxn id="73" idx="0"/>
          </p:cNvCxnSpPr>
          <p:nvPr/>
        </p:nvCxnSpPr>
        <p:spPr>
          <a:xfrm>
            <a:off x="4803484" y="4148973"/>
            <a:ext cx="0" cy="521489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Ευθύγραμμο βέλος σύνδεσης 29"/>
          <p:cNvCxnSpPr/>
          <p:nvPr/>
        </p:nvCxnSpPr>
        <p:spPr>
          <a:xfrm>
            <a:off x="8041064" y="4279769"/>
            <a:ext cx="0" cy="390692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Google Shape;2041;p27">
            <a:extLst>
              <a:ext uri="{FF2B5EF4-FFF2-40B4-BE49-F238E27FC236}">
                <a16:creationId xmlns:a16="http://schemas.microsoft.com/office/drawing/2014/main" id="{C70F009C-BA92-4484-9C92-01D5B19A4456}"/>
              </a:ext>
            </a:extLst>
          </p:cNvPr>
          <p:cNvSpPr/>
          <p:nvPr/>
        </p:nvSpPr>
        <p:spPr>
          <a:xfrm>
            <a:off x="1067937" y="4596081"/>
            <a:ext cx="291912" cy="242736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2041;p27">
            <a:extLst>
              <a:ext uri="{FF2B5EF4-FFF2-40B4-BE49-F238E27FC236}">
                <a16:creationId xmlns:a16="http://schemas.microsoft.com/office/drawing/2014/main" id="{C70F009C-BA92-4484-9C92-01D5B19A4456}"/>
              </a:ext>
            </a:extLst>
          </p:cNvPr>
          <p:cNvSpPr/>
          <p:nvPr/>
        </p:nvSpPr>
        <p:spPr>
          <a:xfrm>
            <a:off x="7083058" y="4630444"/>
            <a:ext cx="291912" cy="242736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4197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D3DB5-D38F-484C-8591-D7F68FDA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Google Shape;1978;p27">
            <a:extLst>
              <a:ext uri="{FF2B5EF4-FFF2-40B4-BE49-F238E27FC236}">
                <a16:creationId xmlns:a16="http://schemas.microsoft.com/office/drawing/2014/main" id="{31940E15-A5F1-493A-8075-B735E9C9B52B}"/>
              </a:ext>
            </a:extLst>
          </p:cNvPr>
          <p:cNvSpPr/>
          <p:nvPr/>
        </p:nvSpPr>
        <p:spPr>
          <a:xfrm>
            <a:off x="5639167" y="1787803"/>
            <a:ext cx="6084513" cy="4060173"/>
          </a:xfrm>
          <a:prstGeom prst="rect">
            <a:avLst/>
          </a:prstGeom>
          <a:solidFill>
            <a:srgbClr val="F2F2F2"/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Κατάρτιση</a:t>
            </a:r>
            <a:r>
              <a:rPr lang="en-US" sz="1050" kern="0" dirty="0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D04A02"/>
                </a:solidFill>
                <a:latin typeface="Arial"/>
                <a:ea typeface="Arial"/>
                <a:cs typeface="Arial"/>
                <a:sym typeface="Arial"/>
              </a:rPr>
              <a:t>Σχεδίου ΕΠΑ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καθορισμός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αναπτυξιακών στόχων</a:t>
            </a: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/Υ </a:t>
            </a:r>
            <a:r>
              <a:rPr lang="el-GR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και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ροτεραιοτή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ξειδίκευση διαδικασίας κατάρτισης και υποβολής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των επιμέρους Προγραμμάτων ΕΠΑ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, συντονισμός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αρμοδίων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φορέων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για την κατάρτιση τους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Αξιολόγηση προγραμμάτω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και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ισήγηση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έγκρισης ή αναθεώρησης τους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υνεργασί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με τα Υπουργεία και τις Περιφέρειες για την κατάρτιση Ειδικών Προγραμμά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ισήγηση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στον Υπουργό για την έγκριση ή την αναθεώρηση των Ειδικών Προγραμμά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Διατύπωση εισηγήσεων σχετικά με τη διάθεση αποθεματικών του ΕΠ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Αξιολόγηση πορείας και αποτελεσμάτων υλοποίησης του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με βάση στόχους και δείκτες, και στοιχεία παρακολούθησης από εκθέσεις προόδου και από πορίσματα επιτόπιων επιθεωρήσεων και ελέγχ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ενδιάμεσης έκθεσης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άλλων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κθέσεων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και η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άρτιση του σχεδίου αναθεώρησης του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και μέριμνα για την ανάπτυξη των απαραίτητων διαδικασιών για την έγκριση του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Σύνταξη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ροδιαγραφών του ΠΣ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ανάπτυξη διεπαφών με άλλα πληροφοριακά συστήματα, καθώς και συλλογή και έγκαιρη καταχώριση στο ΠΣ ΕΠΑ των απαραίτητων δεδομένων.</a:t>
            </a:r>
            <a:endParaRPr lang="en-US"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προδιαγραφώ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για τα έργα Τεχνικής Βοήθειας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Υποστήριξη και συνδρομή για θέματα που αφορούν στο εθνικό σκέλος του ΠΔΕ.</a:t>
            </a:r>
          </a:p>
          <a:p>
            <a:pPr marL="171450" indent="-171450">
              <a:buClr>
                <a:srgbClr val="000000"/>
              </a:buClr>
              <a:buSzPts val="1000"/>
              <a:buFont typeface="Noto Sans Symbols"/>
              <a:buChar char="▪"/>
            </a:pPr>
            <a:endParaRPr lang="el-GR" sz="10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10025250" y="6506592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3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0" name="Google Shape;1971;p27">
            <a:extLst>
              <a:ext uri="{FF2B5EF4-FFF2-40B4-BE49-F238E27FC236}">
                <a16:creationId xmlns:a16="http://schemas.microsoft.com/office/drawing/2014/main" id="{0377848E-B932-4E9A-8E16-D77A8385F2C8}"/>
              </a:ext>
            </a:extLst>
          </p:cNvPr>
          <p:cNvSpPr txBox="1">
            <a:spLocks/>
          </p:cNvSpPr>
          <p:nvPr/>
        </p:nvSpPr>
        <p:spPr>
          <a:xfrm>
            <a:off x="635280" y="282828"/>
            <a:ext cx="11306175" cy="651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Georgia"/>
              <a:buNone/>
              <a:tabLst/>
              <a:defRPr/>
            </a:pPr>
            <a:r>
              <a:rPr lang="el-GR" sz="2000" kern="0" dirty="0" smtClean="0">
                <a:solidFill>
                  <a:srgbClr val="000000"/>
                </a:solidFill>
              </a:rPr>
              <a:t>Ο </a:t>
            </a:r>
            <a:r>
              <a:rPr lang="el-GR" sz="2000" kern="0" dirty="0">
                <a:solidFill>
                  <a:srgbClr val="000000"/>
                </a:solidFill>
              </a:rPr>
              <a:t>ρόλος της ΔιΔιΕΠ, ως αρμόδιας Δ/σης για την υποστήριξη της ΥΣ ΕΠΑ, εξυπηρετείται από τα τμήματα Α’ και </a:t>
            </a:r>
            <a:r>
              <a:rPr lang="el-GR" sz="2000" kern="0" dirty="0" smtClean="0">
                <a:solidFill>
                  <a:srgbClr val="000000"/>
                </a:solidFill>
              </a:rPr>
              <a:t>Β’</a:t>
            </a:r>
            <a:endParaRPr kumimoji="0" lang="el-GR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sym typeface="Georgia"/>
            </a:endParaRPr>
          </a:p>
        </p:txBody>
      </p:sp>
      <p:sp>
        <p:nvSpPr>
          <p:cNvPr id="62" name="Google Shape;1987;p27">
            <a:extLst>
              <a:ext uri="{FF2B5EF4-FFF2-40B4-BE49-F238E27FC236}">
                <a16:creationId xmlns:a16="http://schemas.microsoft.com/office/drawing/2014/main" id="{9102B20B-56F4-405C-BBE6-763EF445D80F}"/>
              </a:ext>
            </a:extLst>
          </p:cNvPr>
          <p:cNvSpPr/>
          <p:nvPr/>
        </p:nvSpPr>
        <p:spPr>
          <a:xfrm>
            <a:off x="1103541" y="2620888"/>
            <a:ext cx="2377992" cy="60488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Σχεδιασμού και Αξιολόγησης Εθνικού Προγράμματος Ανάπτυξης ΕΠΑ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9" name="Google Shape;1990;p27">
            <a:extLst>
              <a:ext uri="{FF2B5EF4-FFF2-40B4-BE49-F238E27FC236}">
                <a16:creationId xmlns:a16="http://schemas.microsoft.com/office/drawing/2014/main" id="{B22AD024-12A3-4DBC-BC4B-99900E64AC36}"/>
              </a:ext>
            </a:extLst>
          </p:cNvPr>
          <p:cNvSpPr/>
          <p:nvPr/>
        </p:nvSpPr>
        <p:spPr>
          <a:xfrm>
            <a:off x="1106225" y="3411008"/>
            <a:ext cx="2375308" cy="51070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θνικού Προγράμματος Ανάπτυξης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" name="Google Shape;2021;p27">
            <a:extLst>
              <a:ext uri="{FF2B5EF4-FFF2-40B4-BE49-F238E27FC236}">
                <a16:creationId xmlns:a16="http://schemas.microsoft.com/office/drawing/2014/main" id="{F64467E0-1625-48ED-A668-43CE67FC6C32}"/>
              </a:ext>
            </a:extLst>
          </p:cNvPr>
          <p:cNvSpPr/>
          <p:nvPr/>
        </p:nvSpPr>
        <p:spPr>
          <a:xfrm>
            <a:off x="1113795" y="4085979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noFill/>
            <a:prstDash val="sysDot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 Τεχνικής Βοήθειας και Υποστήριξης 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125" name="Google Shape;2025;p27">
            <a:extLst>
              <a:ext uri="{FF2B5EF4-FFF2-40B4-BE49-F238E27FC236}">
                <a16:creationId xmlns:a16="http://schemas.microsoft.com/office/drawing/2014/main" id="{39210AE5-4E75-4C2E-A6F3-ADBBFDCD4424}"/>
              </a:ext>
            </a:extLst>
          </p:cNvPr>
          <p:cNvCxnSpPr>
            <a:cxnSpLocks/>
            <a:stCxn id="62" idx="1"/>
            <a:endCxn id="133" idx="1"/>
          </p:cNvCxnSpPr>
          <p:nvPr/>
        </p:nvCxnSpPr>
        <p:spPr>
          <a:xfrm rot="10800000">
            <a:off x="1103541" y="2039064"/>
            <a:ext cx="12700" cy="884269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29" name="Google Shape;2041;p27">
            <a:extLst>
              <a:ext uri="{FF2B5EF4-FFF2-40B4-BE49-F238E27FC236}">
                <a16:creationId xmlns:a16="http://schemas.microsoft.com/office/drawing/2014/main" id="{3A56512F-C416-4516-AC41-A7B83132EAE9}"/>
              </a:ext>
            </a:extLst>
          </p:cNvPr>
          <p:cNvSpPr/>
          <p:nvPr/>
        </p:nvSpPr>
        <p:spPr>
          <a:xfrm>
            <a:off x="1022938" y="3321008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0" name="Google Shape;2044;p27">
            <a:extLst>
              <a:ext uri="{FF2B5EF4-FFF2-40B4-BE49-F238E27FC236}">
                <a16:creationId xmlns:a16="http://schemas.microsoft.com/office/drawing/2014/main" id="{655CECB8-3BEE-45E2-9D1C-68E83FF4BDF5}"/>
              </a:ext>
            </a:extLst>
          </p:cNvPr>
          <p:cNvSpPr/>
          <p:nvPr/>
        </p:nvSpPr>
        <p:spPr>
          <a:xfrm>
            <a:off x="1032858" y="4019307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3" name="Google Shape;1992;p27">
            <a:extLst>
              <a:ext uri="{FF2B5EF4-FFF2-40B4-BE49-F238E27FC236}">
                <a16:creationId xmlns:a16="http://schemas.microsoft.com/office/drawing/2014/main" id="{FBD793B9-AE1F-490F-B5BE-6A5EA79ADF63}"/>
              </a:ext>
            </a:extLst>
          </p:cNvPr>
          <p:cNvSpPr/>
          <p:nvPr/>
        </p:nvSpPr>
        <p:spPr>
          <a:xfrm>
            <a:off x="1103541" y="1748589"/>
            <a:ext cx="2377134" cy="58094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2000" b="1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ΔιΔιΕΠ</a:t>
            </a:r>
            <a:endParaRPr sz="2000" b="1" kern="0" baseline="30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5" name="Google Shape;2041;p27">
            <a:extLst>
              <a:ext uri="{FF2B5EF4-FFF2-40B4-BE49-F238E27FC236}">
                <a16:creationId xmlns:a16="http://schemas.microsoft.com/office/drawing/2014/main" id="{FA3312E6-F872-4B04-B64A-7F0FAFF0028F}"/>
              </a:ext>
            </a:extLst>
          </p:cNvPr>
          <p:cNvSpPr/>
          <p:nvPr/>
        </p:nvSpPr>
        <p:spPr>
          <a:xfrm>
            <a:off x="1022938" y="2514769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" name="Google Shape;2041;p27">
            <a:extLst>
              <a:ext uri="{FF2B5EF4-FFF2-40B4-BE49-F238E27FC236}">
                <a16:creationId xmlns:a16="http://schemas.microsoft.com/office/drawing/2014/main" id="{93FD7D22-9A2C-4103-B063-ED9D5BE8F5B5}"/>
              </a:ext>
            </a:extLst>
          </p:cNvPr>
          <p:cNvSpPr/>
          <p:nvPr/>
        </p:nvSpPr>
        <p:spPr>
          <a:xfrm>
            <a:off x="5549168" y="1707088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7" name="Google Shape;1882;p26">
            <a:extLst>
              <a:ext uri="{FF2B5EF4-FFF2-40B4-BE49-F238E27FC236}">
                <a16:creationId xmlns:a16="http://schemas.microsoft.com/office/drawing/2014/main" id="{750052CA-F7BD-4B8E-A9F6-05EBF019A775}"/>
              </a:ext>
            </a:extLst>
          </p:cNvPr>
          <p:cNvCxnSpPr/>
          <p:nvPr/>
        </p:nvCxnSpPr>
        <p:spPr>
          <a:xfrm>
            <a:off x="442911" y="1432652"/>
            <a:ext cx="11306174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" name="Google Shape;1883;p26">
            <a:extLst>
              <a:ext uri="{FF2B5EF4-FFF2-40B4-BE49-F238E27FC236}">
                <a16:creationId xmlns:a16="http://schemas.microsoft.com/office/drawing/2014/main" id="{81EECD89-6E61-45E1-9BA6-48A471C5D8AC}"/>
              </a:ext>
            </a:extLst>
          </p:cNvPr>
          <p:cNvSpPr txBox="1"/>
          <p:nvPr/>
        </p:nvSpPr>
        <p:spPr>
          <a:xfrm>
            <a:off x="5729168" y="1135872"/>
            <a:ext cx="30146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Βα</a:t>
            </a:r>
            <a:r>
              <a:rPr lang="en-US" sz="1200" b="1" i="0" u="none" strike="noStrike" cap="none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σικ</a:t>
            </a:r>
            <a:r>
              <a:rPr lang="el-GR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ές αρμοδιότητες </a:t>
            </a:r>
            <a:endParaRPr dirty="0"/>
          </a:p>
        </p:txBody>
      </p:sp>
      <p:grpSp>
        <p:nvGrpSpPr>
          <p:cNvPr id="29" name="Google Shape;1957;p26">
            <a:extLst>
              <a:ext uri="{FF2B5EF4-FFF2-40B4-BE49-F238E27FC236}">
                <a16:creationId xmlns:a16="http://schemas.microsoft.com/office/drawing/2014/main" id="{79AD4DE4-9617-4009-83AC-212611826949}"/>
              </a:ext>
            </a:extLst>
          </p:cNvPr>
          <p:cNvGrpSpPr/>
          <p:nvPr/>
        </p:nvGrpSpPr>
        <p:grpSpPr>
          <a:xfrm>
            <a:off x="5147678" y="1371466"/>
            <a:ext cx="132887" cy="122372"/>
            <a:chOff x="8181975" y="1582603"/>
            <a:chExt cx="132887" cy="122372"/>
          </a:xfrm>
        </p:grpSpPr>
        <p:sp>
          <p:nvSpPr>
            <p:cNvPr id="30" name="Google Shape;1958;p26">
              <a:extLst>
                <a:ext uri="{FF2B5EF4-FFF2-40B4-BE49-F238E27FC236}">
                  <a16:creationId xmlns:a16="http://schemas.microsoft.com/office/drawing/2014/main" id="{D020F22A-2602-4627-87C4-54FDD7DDAB99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1959;p26">
              <a:extLst>
                <a:ext uri="{FF2B5EF4-FFF2-40B4-BE49-F238E27FC236}">
                  <a16:creationId xmlns:a16="http://schemas.microsoft.com/office/drawing/2014/main" id="{D8DA9294-FF12-4120-8170-55CDB09A3813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6" name="Google Shape;2047;p27">
            <a:extLst>
              <a:ext uri="{FF2B5EF4-FFF2-40B4-BE49-F238E27FC236}">
                <a16:creationId xmlns:a16="http://schemas.microsoft.com/office/drawing/2014/main" id="{D32D130C-D402-4C60-9029-F822FDA51722}"/>
              </a:ext>
            </a:extLst>
          </p:cNvPr>
          <p:cNvSpPr/>
          <p:nvPr/>
        </p:nvSpPr>
        <p:spPr>
          <a:xfrm>
            <a:off x="1031216" y="3226786"/>
            <a:ext cx="2521784" cy="1383398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" name="Google Shape;2025;p27">
            <a:extLst>
              <a:ext uri="{FF2B5EF4-FFF2-40B4-BE49-F238E27FC236}">
                <a16:creationId xmlns:a16="http://schemas.microsoft.com/office/drawing/2014/main" id="{2A714571-742F-4857-A79E-405C7E288501}"/>
              </a:ext>
            </a:extLst>
          </p:cNvPr>
          <p:cNvCxnSpPr>
            <a:cxnSpLocks/>
            <a:stCxn id="119" idx="1"/>
            <a:endCxn id="133" idx="1"/>
          </p:cNvCxnSpPr>
          <p:nvPr/>
        </p:nvCxnSpPr>
        <p:spPr>
          <a:xfrm rot="10800000">
            <a:off x="1103541" y="2039064"/>
            <a:ext cx="2684" cy="1627297"/>
          </a:xfrm>
          <a:prstGeom prst="bentConnector3">
            <a:avLst>
              <a:gd name="adj1" fmla="val 8617139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7" name="Google Shape;2025;p27">
            <a:extLst>
              <a:ext uri="{FF2B5EF4-FFF2-40B4-BE49-F238E27FC236}">
                <a16:creationId xmlns:a16="http://schemas.microsoft.com/office/drawing/2014/main" id="{4DC8F208-6E8A-472C-B88D-F03EE412D6DD}"/>
              </a:ext>
            </a:extLst>
          </p:cNvPr>
          <p:cNvCxnSpPr>
            <a:cxnSpLocks/>
            <a:stCxn id="124" idx="1"/>
            <a:endCxn id="133" idx="1"/>
          </p:cNvCxnSpPr>
          <p:nvPr/>
        </p:nvCxnSpPr>
        <p:spPr>
          <a:xfrm rot="10800000">
            <a:off x="1103541" y="2039063"/>
            <a:ext cx="10254" cy="2280646"/>
          </a:xfrm>
          <a:prstGeom prst="bentConnector3">
            <a:avLst>
              <a:gd name="adj1" fmla="val 2329374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" name="Google Shape;1883;p26">
            <a:extLst>
              <a:ext uri="{FF2B5EF4-FFF2-40B4-BE49-F238E27FC236}">
                <a16:creationId xmlns:a16="http://schemas.microsoft.com/office/drawing/2014/main" id="{3E86B955-840D-4A54-8CD3-615B55F0B99D}"/>
              </a:ext>
            </a:extLst>
          </p:cNvPr>
          <p:cNvSpPr txBox="1"/>
          <p:nvPr/>
        </p:nvSpPr>
        <p:spPr>
          <a:xfrm>
            <a:off x="442911" y="1116132"/>
            <a:ext cx="301466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ΔιΔιΕΠ</a:t>
            </a:r>
            <a:endParaRPr lang="el-GR" sz="1200" dirty="0"/>
          </a:p>
        </p:txBody>
      </p:sp>
      <p:pic>
        <p:nvPicPr>
          <p:cNvPr id="87" name="Picture 32">
            <a:extLst>
              <a:ext uri="{FF2B5EF4-FFF2-40B4-BE49-F238E27FC236}">
                <a16:creationId xmlns:a16="http://schemas.microsoft.com/office/drawing/2014/main" id="{D66220AA-EA48-4640-A521-316525D44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27431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D3DB5-D38F-484C-8591-D7F68FDA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Google Shape;1978;p27">
            <a:extLst>
              <a:ext uri="{FF2B5EF4-FFF2-40B4-BE49-F238E27FC236}">
                <a16:creationId xmlns:a16="http://schemas.microsoft.com/office/drawing/2014/main" id="{31940E15-A5F1-493A-8075-B735E9C9B52B}"/>
              </a:ext>
            </a:extLst>
          </p:cNvPr>
          <p:cNvSpPr/>
          <p:nvPr/>
        </p:nvSpPr>
        <p:spPr>
          <a:xfrm>
            <a:off x="5681543" y="1739064"/>
            <a:ext cx="6019917" cy="4013666"/>
          </a:xfrm>
          <a:prstGeom prst="rect">
            <a:avLst/>
          </a:prstGeom>
          <a:solidFill>
            <a:srgbClr val="F2F2F2"/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Arial" panose="020B0604020202020204" pitchFamily="34" charset="0"/>
              <a:buChar char="•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Παρακολούθηση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ορείας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υλοποίησης ΕΠΑ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και η εισήγηση της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αναθεώρησης του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στο Τμήμα Σχεδιασμού και Αξιολόγησης ΕΠ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άρτιση και επικαιροποίηση του ΣΔΕ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του ΕΠΑ,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παροχή κατευθύνσεων και οδηγιώ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για την εφαρμογή του, και η ενημέρωση σχετικά με τις ΥΔ των Προγραμμάτων του ΕΠ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Μέριμνα για την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ορθή και ενιαία εφαρμογή του ΣΔΕ των Προγραμμάτων του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διασταύρωση και έλεγχος στοιχεί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κατευθύνσεων για τη διαδικασία ολοκλήρωσης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του ΕΠΑ και των Προγραμμά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Διενέργεια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δειγματοληπτικών επιτόπιων επιθεωρήσεω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σε Προγράμματα και έργ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νημέρωση για τα ευρήματα των επιτόπιων επιθεωρήσεων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που διενεργούν οι ΥΔ, καθώς και των εκθέσεων των ομάδων ελέγχου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Υλοποίηση ενεργειών που προβλέπονται στο ΣΔΕ στις περιπτώσεις διαπίστωσης παρατυπιών από τις επιτόπιες επιθεωρήσεις αρμοδιότητάς του τμήματος και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εισήγηση περί λήψης διορθωτικών μέτρ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Υποστήριξη σε θέματα προδιαγραφών του ΠΣ ΕΠΑ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εισήγηση ανάπτυξης νέων πληροφοριακών συστημάτων, καθώς και τροποποίηση και επέκταση των ήδη υπαρχόντων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Μέριμνα για την </a:t>
            </a: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καταχώριση δεδομένω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στο ΠΣ ΕΠΑ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D04A02"/>
                </a:solidFill>
                <a:latin typeface="Arial"/>
                <a:cs typeface="Arial"/>
                <a:sym typeface="Arial"/>
              </a:rPr>
              <a:t>Σύνταξη προδιαγραφών </a:t>
            </a: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για έργα Τεχνικής Βοήθειας.</a:t>
            </a:r>
          </a:p>
          <a:p>
            <a:pPr marL="171450" indent="-171450" algn="just">
              <a:spcBef>
                <a:spcPts val="600"/>
              </a:spcBef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Υποστήριξη και συνδρομή για θέματα που αφορούν στο εθνικό σκέλος του ΠΔΕ.</a:t>
            </a: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9984295" y="6492240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4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0" name="Google Shape;1971;p27">
            <a:extLst>
              <a:ext uri="{FF2B5EF4-FFF2-40B4-BE49-F238E27FC236}">
                <a16:creationId xmlns:a16="http://schemas.microsoft.com/office/drawing/2014/main" id="{0377848E-B932-4E9A-8E16-D77A8385F2C8}"/>
              </a:ext>
            </a:extLst>
          </p:cNvPr>
          <p:cNvSpPr txBox="1">
            <a:spLocks/>
          </p:cNvSpPr>
          <p:nvPr/>
        </p:nvSpPr>
        <p:spPr>
          <a:xfrm>
            <a:off x="635280" y="282828"/>
            <a:ext cx="11306175" cy="651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Georgia"/>
              <a:buNone/>
              <a:tabLst/>
              <a:defRPr/>
            </a:pPr>
            <a:r>
              <a:rPr lang="el-GR" sz="2000" kern="0" dirty="0" smtClean="0">
                <a:solidFill>
                  <a:srgbClr val="000000"/>
                </a:solidFill>
              </a:rPr>
              <a:t>Ο </a:t>
            </a:r>
            <a:r>
              <a:rPr lang="el-GR" sz="2000" kern="0" dirty="0">
                <a:solidFill>
                  <a:srgbClr val="000000"/>
                </a:solidFill>
              </a:rPr>
              <a:t>ρόλος της ΔιΔιΕΠ, ως αρμόδιας Δ/σης για την υποστήριξη της ΥΣ ΕΠΑ, εξυπηρετείται από τα τμήματα Α’ και </a:t>
            </a:r>
            <a:r>
              <a:rPr lang="el-GR" sz="2000" kern="0" dirty="0" smtClean="0">
                <a:solidFill>
                  <a:srgbClr val="000000"/>
                </a:solidFill>
              </a:rPr>
              <a:t>Β’    </a:t>
            </a:r>
            <a:endParaRPr kumimoji="0" lang="el-GR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sym typeface="Georgia"/>
            </a:endParaRPr>
          </a:p>
        </p:txBody>
      </p:sp>
      <p:sp>
        <p:nvSpPr>
          <p:cNvPr id="30" name="Google Shape;2041;p27">
            <a:extLst>
              <a:ext uri="{FF2B5EF4-FFF2-40B4-BE49-F238E27FC236}">
                <a16:creationId xmlns:a16="http://schemas.microsoft.com/office/drawing/2014/main" id="{613B7B71-DAD3-4093-A679-F528D92E6E0E}"/>
              </a:ext>
            </a:extLst>
          </p:cNvPr>
          <p:cNvSpPr/>
          <p:nvPr/>
        </p:nvSpPr>
        <p:spPr>
          <a:xfrm>
            <a:off x="5553824" y="1621312"/>
            <a:ext cx="186392" cy="174088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9" name="Google Shape;1882;p26">
            <a:extLst>
              <a:ext uri="{FF2B5EF4-FFF2-40B4-BE49-F238E27FC236}">
                <a16:creationId xmlns:a16="http://schemas.microsoft.com/office/drawing/2014/main" id="{99101593-A774-40A7-9C9D-538641094D44}"/>
              </a:ext>
            </a:extLst>
          </p:cNvPr>
          <p:cNvCxnSpPr/>
          <p:nvPr/>
        </p:nvCxnSpPr>
        <p:spPr>
          <a:xfrm>
            <a:off x="442911" y="1432652"/>
            <a:ext cx="11306174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1" name="Google Shape;1883;p26">
            <a:extLst>
              <a:ext uri="{FF2B5EF4-FFF2-40B4-BE49-F238E27FC236}">
                <a16:creationId xmlns:a16="http://schemas.microsoft.com/office/drawing/2014/main" id="{F56C1CD8-D07F-4D9A-9C7E-C0BE04E3D460}"/>
              </a:ext>
            </a:extLst>
          </p:cNvPr>
          <p:cNvSpPr txBox="1"/>
          <p:nvPr/>
        </p:nvSpPr>
        <p:spPr>
          <a:xfrm>
            <a:off x="5729168" y="1135872"/>
            <a:ext cx="30146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Βασικ</a:t>
            </a:r>
            <a:r>
              <a:rPr lang="el-GR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ές αρμοδιότητες</a:t>
            </a:r>
            <a:endParaRPr dirty="0"/>
          </a:p>
        </p:txBody>
      </p:sp>
      <p:grpSp>
        <p:nvGrpSpPr>
          <p:cNvPr id="32" name="Google Shape;1957;p26">
            <a:extLst>
              <a:ext uri="{FF2B5EF4-FFF2-40B4-BE49-F238E27FC236}">
                <a16:creationId xmlns:a16="http://schemas.microsoft.com/office/drawing/2014/main" id="{A49DA017-BC0D-4039-9FED-C86F55EA0A7B}"/>
              </a:ext>
            </a:extLst>
          </p:cNvPr>
          <p:cNvGrpSpPr/>
          <p:nvPr/>
        </p:nvGrpSpPr>
        <p:grpSpPr>
          <a:xfrm>
            <a:off x="5167998" y="1371466"/>
            <a:ext cx="132887" cy="122372"/>
            <a:chOff x="8181975" y="1582603"/>
            <a:chExt cx="132887" cy="122372"/>
          </a:xfrm>
        </p:grpSpPr>
        <p:sp>
          <p:nvSpPr>
            <p:cNvPr id="33" name="Google Shape;1958;p26">
              <a:extLst>
                <a:ext uri="{FF2B5EF4-FFF2-40B4-BE49-F238E27FC236}">
                  <a16:creationId xmlns:a16="http://schemas.microsoft.com/office/drawing/2014/main" id="{2DEF489C-FC9B-4C0C-BA2A-549B8F8093E7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1959;p26">
              <a:extLst>
                <a:ext uri="{FF2B5EF4-FFF2-40B4-BE49-F238E27FC236}">
                  <a16:creationId xmlns:a16="http://schemas.microsoft.com/office/drawing/2014/main" id="{FE2C1416-C249-4A8E-A544-CC839D9394BC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" name="Google Shape;1883;p26">
            <a:extLst>
              <a:ext uri="{FF2B5EF4-FFF2-40B4-BE49-F238E27FC236}">
                <a16:creationId xmlns:a16="http://schemas.microsoft.com/office/drawing/2014/main" id="{4B3BFEE7-F2C8-40C8-8E59-D266A22BDE6E}"/>
              </a:ext>
            </a:extLst>
          </p:cNvPr>
          <p:cNvSpPr txBox="1"/>
          <p:nvPr/>
        </p:nvSpPr>
        <p:spPr>
          <a:xfrm>
            <a:off x="442911" y="1116132"/>
            <a:ext cx="301466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ΔιΔιΕΠ</a:t>
            </a:r>
            <a:endParaRPr lang="el-GR" sz="1200" dirty="0"/>
          </a:p>
        </p:txBody>
      </p:sp>
      <p:sp>
        <p:nvSpPr>
          <p:cNvPr id="36" name="Google Shape;1987;p27">
            <a:extLst>
              <a:ext uri="{FF2B5EF4-FFF2-40B4-BE49-F238E27FC236}">
                <a16:creationId xmlns:a16="http://schemas.microsoft.com/office/drawing/2014/main" id="{534D7729-0398-4A57-9B83-731C20FADD46}"/>
              </a:ext>
            </a:extLst>
          </p:cNvPr>
          <p:cNvSpPr/>
          <p:nvPr/>
        </p:nvSpPr>
        <p:spPr>
          <a:xfrm>
            <a:off x="1084491" y="2620888"/>
            <a:ext cx="2377992" cy="60488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Σχεδιασμού και Αξιολόγησης Εθνικού Προγράμματος Ανάπτυξης ΕΠΑ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Google Shape;1990;p27">
            <a:extLst>
              <a:ext uri="{FF2B5EF4-FFF2-40B4-BE49-F238E27FC236}">
                <a16:creationId xmlns:a16="http://schemas.microsoft.com/office/drawing/2014/main" id="{144B91EA-4741-47F0-8D61-07C8CE790E47}"/>
              </a:ext>
            </a:extLst>
          </p:cNvPr>
          <p:cNvSpPr/>
          <p:nvPr/>
        </p:nvSpPr>
        <p:spPr>
          <a:xfrm>
            <a:off x="1087175" y="3411008"/>
            <a:ext cx="2375308" cy="51070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θνικού Προγράμματος Ανάπτυξης</a:t>
            </a:r>
            <a:endParaRPr kumimoji="0" sz="10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" name="Google Shape;2021;p27">
            <a:extLst>
              <a:ext uri="{FF2B5EF4-FFF2-40B4-BE49-F238E27FC236}">
                <a16:creationId xmlns:a16="http://schemas.microsoft.com/office/drawing/2014/main" id="{075F04AC-45F9-471D-8A96-312769857D7A}"/>
              </a:ext>
            </a:extLst>
          </p:cNvPr>
          <p:cNvSpPr/>
          <p:nvPr/>
        </p:nvSpPr>
        <p:spPr>
          <a:xfrm>
            <a:off x="1094745" y="4085979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noFill/>
            <a:prstDash val="sysDot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 Τεχνικής Βοήθειας και Υποστήριξης 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0" name="Google Shape;2025;p27">
            <a:extLst>
              <a:ext uri="{FF2B5EF4-FFF2-40B4-BE49-F238E27FC236}">
                <a16:creationId xmlns:a16="http://schemas.microsoft.com/office/drawing/2014/main" id="{72DB3C53-0317-4FCA-A699-15C8DDD43855}"/>
              </a:ext>
            </a:extLst>
          </p:cNvPr>
          <p:cNvCxnSpPr>
            <a:cxnSpLocks/>
            <a:stCxn id="36" idx="1"/>
            <a:endCxn id="44" idx="1"/>
          </p:cNvCxnSpPr>
          <p:nvPr/>
        </p:nvCxnSpPr>
        <p:spPr>
          <a:xfrm rot="10800000">
            <a:off x="1084491" y="2039064"/>
            <a:ext cx="12700" cy="884269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1" name="Google Shape;2041;p27">
            <a:extLst>
              <a:ext uri="{FF2B5EF4-FFF2-40B4-BE49-F238E27FC236}">
                <a16:creationId xmlns:a16="http://schemas.microsoft.com/office/drawing/2014/main" id="{2196AE56-6A06-4F17-B5C8-7C4A0484CC40}"/>
              </a:ext>
            </a:extLst>
          </p:cNvPr>
          <p:cNvSpPr/>
          <p:nvPr/>
        </p:nvSpPr>
        <p:spPr>
          <a:xfrm>
            <a:off x="1003888" y="3321008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2044;p27">
            <a:extLst>
              <a:ext uri="{FF2B5EF4-FFF2-40B4-BE49-F238E27FC236}">
                <a16:creationId xmlns:a16="http://schemas.microsoft.com/office/drawing/2014/main" id="{4478C139-8C9E-430A-89A0-100D9B7E1BB2}"/>
              </a:ext>
            </a:extLst>
          </p:cNvPr>
          <p:cNvSpPr/>
          <p:nvPr/>
        </p:nvSpPr>
        <p:spPr>
          <a:xfrm>
            <a:off x="1013808" y="4019307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Google Shape;1992;p27">
            <a:extLst>
              <a:ext uri="{FF2B5EF4-FFF2-40B4-BE49-F238E27FC236}">
                <a16:creationId xmlns:a16="http://schemas.microsoft.com/office/drawing/2014/main" id="{46762D87-E5E3-48B5-98F4-E6AB13E50398}"/>
              </a:ext>
            </a:extLst>
          </p:cNvPr>
          <p:cNvSpPr/>
          <p:nvPr/>
        </p:nvSpPr>
        <p:spPr>
          <a:xfrm>
            <a:off x="1084491" y="1748589"/>
            <a:ext cx="2377134" cy="58094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2000" b="1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ΔιΔιΕΠ</a:t>
            </a:r>
            <a:endParaRPr sz="2000" b="1" kern="0" baseline="30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2041;p27">
            <a:extLst>
              <a:ext uri="{FF2B5EF4-FFF2-40B4-BE49-F238E27FC236}">
                <a16:creationId xmlns:a16="http://schemas.microsoft.com/office/drawing/2014/main" id="{149A0005-1D9D-49B8-8AD2-C6E2D92D09AE}"/>
              </a:ext>
            </a:extLst>
          </p:cNvPr>
          <p:cNvSpPr/>
          <p:nvPr/>
        </p:nvSpPr>
        <p:spPr>
          <a:xfrm>
            <a:off x="1003888" y="2514769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0" name="Google Shape;2025;p27">
            <a:extLst>
              <a:ext uri="{FF2B5EF4-FFF2-40B4-BE49-F238E27FC236}">
                <a16:creationId xmlns:a16="http://schemas.microsoft.com/office/drawing/2014/main" id="{22F37E82-2F43-48E7-A3F8-FD6253FD5FF0}"/>
              </a:ext>
            </a:extLst>
          </p:cNvPr>
          <p:cNvCxnSpPr>
            <a:cxnSpLocks/>
            <a:stCxn id="37" idx="1"/>
            <a:endCxn id="44" idx="1"/>
          </p:cNvCxnSpPr>
          <p:nvPr/>
        </p:nvCxnSpPr>
        <p:spPr>
          <a:xfrm rot="10800000">
            <a:off x="1084491" y="2039064"/>
            <a:ext cx="2684" cy="1627297"/>
          </a:xfrm>
          <a:prstGeom prst="bentConnector3">
            <a:avLst>
              <a:gd name="adj1" fmla="val 8617139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1" name="Google Shape;2025;p27">
            <a:extLst>
              <a:ext uri="{FF2B5EF4-FFF2-40B4-BE49-F238E27FC236}">
                <a16:creationId xmlns:a16="http://schemas.microsoft.com/office/drawing/2014/main" id="{C5451F88-A679-4D00-BB4B-D870BCB81B05}"/>
              </a:ext>
            </a:extLst>
          </p:cNvPr>
          <p:cNvCxnSpPr>
            <a:cxnSpLocks/>
            <a:stCxn id="39" idx="1"/>
            <a:endCxn id="44" idx="1"/>
          </p:cNvCxnSpPr>
          <p:nvPr/>
        </p:nvCxnSpPr>
        <p:spPr>
          <a:xfrm rot="10800000">
            <a:off x="1084491" y="2039063"/>
            <a:ext cx="10254" cy="2280646"/>
          </a:xfrm>
          <a:prstGeom prst="bentConnector3">
            <a:avLst>
              <a:gd name="adj1" fmla="val 2329374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4" name="Google Shape;2047;p27">
            <a:extLst>
              <a:ext uri="{FF2B5EF4-FFF2-40B4-BE49-F238E27FC236}">
                <a16:creationId xmlns:a16="http://schemas.microsoft.com/office/drawing/2014/main" id="{48ED8ED6-95AD-4FAB-9A5E-6C39BAAA582C}"/>
              </a:ext>
            </a:extLst>
          </p:cNvPr>
          <p:cNvSpPr/>
          <p:nvPr/>
        </p:nvSpPr>
        <p:spPr>
          <a:xfrm>
            <a:off x="1012108" y="2537785"/>
            <a:ext cx="2534168" cy="760713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5" name="Picture 32">
            <a:extLst>
              <a:ext uri="{FF2B5EF4-FFF2-40B4-BE49-F238E27FC236}">
                <a16:creationId xmlns:a16="http://schemas.microsoft.com/office/drawing/2014/main" id="{ADCDD099-9643-4C3E-8312-A60AB2913F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Google Shape;2047;p27">
            <a:extLst>
              <a:ext uri="{FF2B5EF4-FFF2-40B4-BE49-F238E27FC236}">
                <a16:creationId xmlns:a16="http://schemas.microsoft.com/office/drawing/2014/main" id="{AFE62F8C-1D39-4665-BFA6-2EE69C70125D}"/>
              </a:ext>
            </a:extLst>
          </p:cNvPr>
          <p:cNvSpPr/>
          <p:nvPr/>
        </p:nvSpPr>
        <p:spPr>
          <a:xfrm>
            <a:off x="996225" y="4011711"/>
            <a:ext cx="2550051" cy="663806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84152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BD3DB5-D38F-484C-8591-D7F68FDA8B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0BD3DB5-D38F-484C-8591-D7F68FDA8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Google Shape;1978;p27">
            <a:extLst>
              <a:ext uri="{FF2B5EF4-FFF2-40B4-BE49-F238E27FC236}">
                <a16:creationId xmlns:a16="http://schemas.microsoft.com/office/drawing/2014/main" id="{31940E15-A5F1-493A-8075-B735E9C9B52B}"/>
              </a:ext>
            </a:extLst>
          </p:cNvPr>
          <p:cNvSpPr/>
          <p:nvPr/>
        </p:nvSpPr>
        <p:spPr>
          <a:xfrm>
            <a:off x="4619638" y="1751796"/>
            <a:ext cx="7129448" cy="4104734"/>
          </a:xfrm>
          <a:prstGeom prst="rect">
            <a:avLst/>
          </a:prstGeom>
          <a:solidFill>
            <a:srgbClr val="F2F2F2"/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Μέριμνα για την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έκδοση των αναγκαίων αποφάσεων και εγκυκλίων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με τις οποίες καθορίζεται η διαδικασία εκτέλεσης των ενεργειών Τεχνικής Βοήθειας των Προγραμμάτων που περιλαμβάνονται στο ΕΠΑ, εξειδικεύονται οι επιλέξιμες κατηγορίες ενεργειών και ορίζονται οι δικαιούχοι, καθώς επίσης και των ενεργειών Τεχνικής Βοήθειας μεταβατικής περιόδου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Κατάρτιση και υλοποίηση του Τομεακού Προγράμματος Τεχνικής Βοήθειας του ΕΠΑ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ή του Υποπρογράμματος Τεχνικής Βοήθειας που εντάσσεται σε Τομεακό Πρόγραμμα του Υπουργείου, καθώς και κάθε τροποποίηση τους.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Μέριμνα για την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έκδοση αποφάσεων μεταβίβασης αρμοδιότητας εκτέλεσης ενεργειών Τεχνικής Βοήθεια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που περιλαμβάνονται στο Τομεακό Πρόγραμμα Τεχνικής Βοήθειας του ΕΠΑ ή στο Υποπρόγραμμα Τεχνικής Βοήθειας, που εντάσσεται σε Τομεακό Πρόγραμμα του Υπουργείου, σε άλλους φορείς ή υπηρεσίες.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αχείριση και εκτέλεση των έργων Τεχνικής Βοήθεια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για υπηρεσίες, μελέτες και προμήθειες, με δικαιούχο τις υπηρεσίες της Γενικής Διεύθυνσης και τήρηση φακέλων με τα στοιχεία φυσικού και οικονομικού αντικειμένου τους.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Προσδιορισμός των έργων,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που απαιτούνται για την υποστήριξη των αρμοδιοτήτων τους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οργάνωση και υποστήριξη κάθε τεχνικής ή άλλης συνάντησης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, που είναι απαραίτητη για την υλοποίηση του έργου της Διεύθυνσης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Υλοποίηση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απαραίτητων ενεργειών για την ενημέρωση και δημοσιότητα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του ΕΠΑ. 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Συλλογή και έγκαιρη καταχώριση δεδομένω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στο ΠΣ-ΕΠΑ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αμόρφωση προδιαγραφώ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του ΠΣ-ΕΠΑ.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Clr>
                <a:srgbClr val="000000"/>
              </a:buClr>
              <a:buSzPts val="1000"/>
              <a:buFont typeface="Noto Sans Symbols"/>
              <a:buChar char="▪"/>
            </a:pP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Τήρηση αρχείου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 και ευθύνη για τη </a:t>
            </a:r>
            <a:r>
              <a:rPr lang="el-GR" sz="1000" kern="0" dirty="0">
                <a:solidFill>
                  <a:srgbClr val="D04A02"/>
                </a:solidFill>
                <a:latin typeface="Arial"/>
                <a:cs typeface="Arial"/>
              </a:rPr>
              <a:t>διακίνηση των εγγράφων </a:t>
            </a:r>
            <a:r>
              <a:rPr lang="el-GR" sz="1000" kern="0" dirty="0">
                <a:solidFill>
                  <a:srgbClr val="000000"/>
                </a:solidFill>
                <a:latin typeface="Arial"/>
                <a:cs typeface="Arial"/>
              </a:rPr>
              <a:t>και την εν γένει γραμματειακή υποστήριξης της Διεύθυνσης.</a:t>
            </a:r>
          </a:p>
          <a:p>
            <a:pPr marL="171450" indent="-107950">
              <a:spcBef>
                <a:spcPts val="400"/>
              </a:spcBef>
              <a:buClr>
                <a:srgbClr val="000000"/>
              </a:buClr>
              <a:buSzPts val="1000"/>
              <a:buFont typeface="Noto Sans Symbols"/>
              <a:buNone/>
            </a:pPr>
            <a:endParaRPr sz="10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" name="Google Shape;2049;p27">
            <a:extLst>
              <a:ext uri="{FF2B5EF4-FFF2-40B4-BE49-F238E27FC236}">
                <a16:creationId xmlns:a16="http://schemas.microsoft.com/office/drawing/2014/main" id="{629BC06A-882D-412E-AB7B-AA81B79E8857}"/>
              </a:ext>
            </a:extLst>
          </p:cNvPr>
          <p:cNvSpPr txBox="1">
            <a:spLocks/>
          </p:cNvSpPr>
          <p:nvPr/>
        </p:nvSpPr>
        <p:spPr>
          <a:xfrm>
            <a:off x="9984295" y="6492240"/>
            <a:ext cx="1764793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>
              <a:defRPr lang="el-GR"/>
            </a:defPPr>
            <a:lvl1pPr marL="0" marR="0" lv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defRPr sz="609" b="0" i="0" u="none" strike="noStrike" kern="120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9"/>
              <a:buFont typeface="Arial"/>
              <a:buNone/>
              <a:tabLst/>
              <a:defRPr/>
            </a:pPr>
            <a:fld id="{00000000-1234-1234-1234-123412341234}" type="slidenum">
              <a:rPr kumimoji="0" lang="en-US" sz="609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9"/>
                <a:buFont typeface="Arial"/>
                <a:buNone/>
                <a:tabLst/>
                <a:defRPr/>
              </a:pPr>
              <a:t>5</a:t>
            </a:fld>
            <a:endParaRPr kumimoji="0" lang="en-US" sz="60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0" name="Google Shape;1971;p27">
            <a:extLst>
              <a:ext uri="{FF2B5EF4-FFF2-40B4-BE49-F238E27FC236}">
                <a16:creationId xmlns:a16="http://schemas.microsoft.com/office/drawing/2014/main" id="{0377848E-B932-4E9A-8E16-D77A8385F2C8}"/>
              </a:ext>
            </a:extLst>
          </p:cNvPr>
          <p:cNvSpPr txBox="1">
            <a:spLocks/>
          </p:cNvSpPr>
          <p:nvPr/>
        </p:nvSpPr>
        <p:spPr>
          <a:xfrm>
            <a:off x="635280" y="282828"/>
            <a:ext cx="11128095" cy="6512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Georgia"/>
              <a:buNone/>
              <a:defRPr sz="26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l-GR" sz="2000" dirty="0"/>
              <a:t>Το Τμήμα Γ παρέχει οριζόντια υποστήριξη για την εκτέλεση του συνόλου των αρμοδιοτήτων της ΔιΔιΕΠ</a:t>
            </a:r>
          </a:p>
        </p:txBody>
      </p:sp>
      <p:sp>
        <p:nvSpPr>
          <p:cNvPr id="29" name="Google Shape;2044;p27">
            <a:extLst>
              <a:ext uri="{FF2B5EF4-FFF2-40B4-BE49-F238E27FC236}">
                <a16:creationId xmlns:a16="http://schemas.microsoft.com/office/drawing/2014/main" id="{7AE91E7B-4D49-4E4B-932A-D81FE5176171}"/>
              </a:ext>
            </a:extLst>
          </p:cNvPr>
          <p:cNvSpPr/>
          <p:nvPr/>
        </p:nvSpPr>
        <p:spPr>
          <a:xfrm>
            <a:off x="4501049" y="1652271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31" name="Google Shape;1882;p26">
            <a:extLst>
              <a:ext uri="{FF2B5EF4-FFF2-40B4-BE49-F238E27FC236}">
                <a16:creationId xmlns:a16="http://schemas.microsoft.com/office/drawing/2014/main" id="{751BBB94-D215-4264-AB36-8DF2118F14A6}"/>
              </a:ext>
            </a:extLst>
          </p:cNvPr>
          <p:cNvCxnSpPr/>
          <p:nvPr/>
        </p:nvCxnSpPr>
        <p:spPr>
          <a:xfrm>
            <a:off x="442911" y="1432652"/>
            <a:ext cx="11306174" cy="0"/>
          </a:xfrm>
          <a:prstGeom prst="straightConnector1">
            <a:avLst/>
          </a:prstGeom>
          <a:noFill/>
          <a:ln w="9525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" name="Google Shape;1883;p26">
            <a:extLst>
              <a:ext uri="{FF2B5EF4-FFF2-40B4-BE49-F238E27FC236}">
                <a16:creationId xmlns:a16="http://schemas.microsoft.com/office/drawing/2014/main" id="{0A5C0FBE-F7F4-4516-8564-1A0210D889EB}"/>
              </a:ext>
            </a:extLst>
          </p:cNvPr>
          <p:cNvSpPr txBox="1"/>
          <p:nvPr/>
        </p:nvSpPr>
        <p:spPr>
          <a:xfrm>
            <a:off x="4648199" y="1107223"/>
            <a:ext cx="30146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Βασικ</a:t>
            </a:r>
            <a:r>
              <a:rPr lang="el-GR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ές αρμοδιότητες</a:t>
            </a:r>
            <a:endParaRPr dirty="0"/>
          </a:p>
        </p:txBody>
      </p:sp>
      <p:grpSp>
        <p:nvGrpSpPr>
          <p:cNvPr id="33" name="Google Shape;1957;p26">
            <a:extLst>
              <a:ext uri="{FF2B5EF4-FFF2-40B4-BE49-F238E27FC236}">
                <a16:creationId xmlns:a16="http://schemas.microsoft.com/office/drawing/2014/main" id="{16C8C7B9-70D7-4476-B70E-F11FB30C5DB5}"/>
              </a:ext>
            </a:extLst>
          </p:cNvPr>
          <p:cNvGrpSpPr/>
          <p:nvPr/>
        </p:nvGrpSpPr>
        <p:grpSpPr>
          <a:xfrm>
            <a:off x="4145013" y="1374041"/>
            <a:ext cx="132887" cy="122372"/>
            <a:chOff x="8181975" y="1582603"/>
            <a:chExt cx="132887" cy="122372"/>
          </a:xfrm>
        </p:grpSpPr>
        <p:sp>
          <p:nvSpPr>
            <p:cNvPr id="34" name="Google Shape;1958;p26">
              <a:extLst>
                <a:ext uri="{FF2B5EF4-FFF2-40B4-BE49-F238E27FC236}">
                  <a16:creationId xmlns:a16="http://schemas.microsoft.com/office/drawing/2014/main" id="{162D67FE-E498-415E-A116-C800C986261A}"/>
                </a:ext>
              </a:extLst>
            </p:cNvPr>
            <p:cNvSpPr/>
            <p:nvPr/>
          </p:nvSpPr>
          <p:spPr>
            <a:xfrm>
              <a:off x="8181975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1959;p26">
              <a:extLst>
                <a:ext uri="{FF2B5EF4-FFF2-40B4-BE49-F238E27FC236}">
                  <a16:creationId xmlns:a16="http://schemas.microsoft.com/office/drawing/2014/main" id="{4FA1FF26-E93D-4FC5-8E57-4179A95695A1}"/>
                </a:ext>
              </a:extLst>
            </p:cNvPr>
            <p:cNvSpPr/>
            <p:nvPr/>
          </p:nvSpPr>
          <p:spPr>
            <a:xfrm>
              <a:off x="8257712" y="1582603"/>
              <a:ext cx="57150" cy="122372"/>
            </a:xfrm>
            <a:prstGeom prst="chevron">
              <a:avLst>
                <a:gd name="adj" fmla="val 50000"/>
              </a:avLst>
            </a:prstGeom>
            <a:solidFill>
              <a:srgbClr val="595959"/>
            </a:solidFill>
            <a:ln w="25400" cap="flat" cmpd="sng">
              <a:solidFill>
                <a:srgbClr val="FFB08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6" name="Google Shape;1883;p26">
            <a:extLst>
              <a:ext uri="{FF2B5EF4-FFF2-40B4-BE49-F238E27FC236}">
                <a16:creationId xmlns:a16="http://schemas.microsoft.com/office/drawing/2014/main" id="{C3824428-099D-4860-B45D-C2E9757F517A}"/>
              </a:ext>
            </a:extLst>
          </p:cNvPr>
          <p:cNvSpPr txBox="1"/>
          <p:nvPr/>
        </p:nvSpPr>
        <p:spPr>
          <a:xfrm>
            <a:off x="442911" y="1116132"/>
            <a:ext cx="301466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l-GR" sz="1200" b="1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Οργανόγραμμα ΔιΔιΕΠ</a:t>
            </a:r>
            <a:endParaRPr lang="el-GR" sz="1200" dirty="0"/>
          </a:p>
        </p:txBody>
      </p:sp>
      <p:sp>
        <p:nvSpPr>
          <p:cNvPr id="37" name="Google Shape;1987;p27">
            <a:extLst>
              <a:ext uri="{FF2B5EF4-FFF2-40B4-BE49-F238E27FC236}">
                <a16:creationId xmlns:a16="http://schemas.microsoft.com/office/drawing/2014/main" id="{D822FF41-3131-4AEA-BCE9-67F6FB406421}"/>
              </a:ext>
            </a:extLst>
          </p:cNvPr>
          <p:cNvSpPr/>
          <p:nvPr/>
        </p:nvSpPr>
        <p:spPr>
          <a:xfrm>
            <a:off x="1080437" y="2624095"/>
            <a:ext cx="2377992" cy="60488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Α’ Σχεδιασμού και Αξιολόγησης Εθνικού Προγράμματος Ανάπτυξης ΕΠΑ</a:t>
            </a:r>
            <a:endParaRPr kumimoji="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" name="Google Shape;1990;p27">
            <a:extLst>
              <a:ext uri="{FF2B5EF4-FFF2-40B4-BE49-F238E27FC236}">
                <a16:creationId xmlns:a16="http://schemas.microsoft.com/office/drawing/2014/main" id="{73EBB752-4C18-4C25-BD74-38D7A4FC6DB0}"/>
              </a:ext>
            </a:extLst>
          </p:cNvPr>
          <p:cNvSpPr/>
          <p:nvPr/>
        </p:nvSpPr>
        <p:spPr>
          <a:xfrm>
            <a:off x="1083121" y="3414215"/>
            <a:ext cx="2375308" cy="51070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Β’ Παρακολούθησης και Ελέγχου Εθνικού Προγράμματος Ανάπτυξης</a:t>
            </a:r>
            <a:endParaRPr kumimoji="0" sz="9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Google Shape;2021;p27">
            <a:extLst>
              <a:ext uri="{FF2B5EF4-FFF2-40B4-BE49-F238E27FC236}">
                <a16:creationId xmlns:a16="http://schemas.microsoft.com/office/drawing/2014/main" id="{EBBC743C-1D35-4C0C-8B36-66638250BE3D}"/>
              </a:ext>
            </a:extLst>
          </p:cNvPr>
          <p:cNvSpPr/>
          <p:nvPr/>
        </p:nvSpPr>
        <p:spPr>
          <a:xfrm>
            <a:off x="1090691" y="4089186"/>
            <a:ext cx="2367737" cy="467459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>
            <a:noFill/>
            <a:prstDash val="sysDot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"/>
              <a:buFont typeface="Arial"/>
              <a:buNone/>
              <a:tabLst/>
              <a:defRPr/>
            </a:pPr>
            <a:r>
              <a:rPr kumimoji="0" lang="el-GR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Τμήμα Γ΄ Τεχνικής Βοήθειας και Υποστήριξης 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cxnSp>
        <p:nvCxnSpPr>
          <p:cNvPr id="41" name="Google Shape;2025;p27">
            <a:extLst>
              <a:ext uri="{FF2B5EF4-FFF2-40B4-BE49-F238E27FC236}">
                <a16:creationId xmlns:a16="http://schemas.microsoft.com/office/drawing/2014/main" id="{E8B0FC62-FDEC-4ED4-8270-1A4BC7C4C493}"/>
              </a:ext>
            </a:extLst>
          </p:cNvPr>
          <p:cNvCxnSpPr>
            <a:cxnSpLocks/>
            <a:stCxn id="37" idx="1"/>
            <a:endCxn id="45" idx="1"/>
          </p:cNvCxnSpPr>
          <p:nvPr/>
        </p:nvCxnSpPr>
        <p:spPr>
          <a:xfrm rot="10800000">
            <a:off x="1080437" y="2042271"/>
            <a:ext cx="12700" cy="884269"/>
          </a:xfrm>
          <a:prstGeom prst="bentConnector3">
            <a:avLst>
              <a:gd name="adj1" fmla="val 1800000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2" name="Google Shape;2041;p27">
            <a:extLst>
              <a:ext uri="{FF2B5EF4-FFF2-40B4-BE49-F238E27FC236}">
                <a16:creationId xmlns:a16="http://schemas.microsoft.com/office/drawing/2014/main" id="{F52BF8A2-B89B-4450-AD5A-CF400D2DD86A}"/>
              </a:ext>
            </a:extLst>
          </p:cNvPr>
          <p:cNvSpPr/>
          <p:nvPr/>
        </p:nvSpPr>
        <p:spPr>
          <a:xfrm>
            <a:off x="999834" y="3324215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2044;p27">
            <a:extLst>
              <a:ext uri="{FF2B5EF4-FFF2-40B4-BE49-F238E27FC236}">
                <a16:creationId xmlns:a16="http://schemas.microsoft.com/office/drawing/2014/main" id="{FE6AC2EA-3E72-4570-95FC-16EA0E361F4D}"/>
              </a:ext>
            </a:extLst>
          </p:cNvPr>
          <p:cNvSpPr/>
          <p:nvPr/>
        </p:nvSpPr>
        <p:spPr>
          <a:xfrm>
            <a:off x="999594" y="4022514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</a:t>
            </a:r>
            <a:endParaRPr sz="14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" name="Google Shape;1992;p27">
            <a:extLst>
              <a:ext uri="{FF2B5EF4-FFF2-40B4-BE49-F238E27FC236}">
                <a16:creationId xmlns:a16="http://schemas.microsoft.com/office/drawing/2014/main" id="{E068ECAC-9595-47CD-9351-F310049544F1}"/>
              </a:ext>
            </a:extLst>
          </p:cNvPr>
          <p:cNvSpPr/>
          <p:nvPr/>
        </p:nvSpPr>
        <p:spPr>
          <a:xfrm>
            <a:off x="1080437" y="1751796"/>
            <a:ext cx="2377134" cy="58094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750"/>
              <a:buFont typeface="Arial"/>
              <a:buNone/>
            </a:pPr>
            <a:r>
              <a:rPr lang="el-GR" sz="2000" b="1" kern="0" baseline="3000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ΔιΔιΕΠ</a:t>
            </a:r>
            <a:endParaRPr sz="2000" b="1" kern="0" baseline="300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2041;p27">
            <a:extLst>
              <a:ext uri="{FF2B5EF4-FFF2-40B4-BE49-F238E27FC236}">
                <a16:creationId xmlns:a16="http://schemas.microsoft.com/office/drawing/2014/main" id="{7D8E416E-136B-4467-A9D9-BE672EA8BCCB}"/>
              </a:ext>
            </a:extLst>
          </p:cNvPr>
          <p:cNvSpPr/>
          <p:nvPr/>
        </p:nvSpPr>
        <p:spPr>
          <a:xfrm>
            <a:off x="999834" y="2517976"/>
            <a:ext cx="180000" cy="180000"/>
          </a:xfrm>
          <a:prstGeom prst="ellipse">
            <a:avLst/>
          </a:prstGeom>
          <a:solidFill>
            <a:srgbClr val="FFB086"/>
          </a:solidFill>
          <a:ln w="25400" cap="flat" cmpd="sng">
            <a:solidFill>
              <a:srgbClr val="FFB0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900"/>
              <a:buFont typeface="Arial"/>
              <a:buNone/>
            </a:pPr>
            <a:r>
              <a:rPr lang="el-GR" sz="9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9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51" name="Google Shape;2025;p27">
            <a:extLst>
              <a:ext uri="{FF2B5EF4-FFF2-40B4-BE49-F238E27FC236}">
                <a16:creationId xmlns:a16="http://schemas.microsoft.com/office/drawing/2014/main" id="{7E23C611-464A-4294-A6CA-133D5F249A3E}"/>
              </a:ext>
            </a:extLst>
          </p:cNvPr>
          <p:cNvCxnSpPr>
            <a:cxnSpLocks/>
            <a:stCxn id="38" idx="1"/>
            <a:endCxn id="45" idx="1"/>
          </p:cNvCxnSpPr>
          <p:nvPr/>
        </p:nvCxnSpPr>
        <p:spPr>
          <a:xfrm rot="10800000">
            <a:off x="1080437" y="2042271"/>
            <a:ext cx="2684" cy="1627297"/>
          </a:xfrm>
          <a:prstGeom prst="bentConnector3">
            <a:avLst>
              <a:gd name="adj1" fmla="val 8617139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2" name="Google Shape;2025;p27">
            <a:extLst>
              <a:ext uri="{FF2B5EF4-FFF2-40B4-BE49-F238E27FC236}">
                <a16:creationId xmlns:a16="http://schemas.microsoft.com/office/drawing/2014/main" id="{3FDB9D86-97D8-4E7B-B08C-87756DAC7175}"/>
              </a:ext>
            </a:extLst>
          </p:cNvPr>
          <p:cNvCxnSpPr>
            <a:cxnSpLocks/>
            <a:stCxn id="40" idx="1"/>
            <a:endCxn id="45" idx="1"/>
          </p:cNvCxnSpPr>
          <p:nvPr/>
        </p:nvCxnSpPr>
        <p:spPr>
          <a:xfrm rot="10800000">
            <a:off x="1080437" y="2042270"/>
            <a:ext cx="10254" cy="2280646"/>
          </a:xfrm>
          <a:prstGeom prst="bentConnector3">
            <a:avLst>
              <a:gd name="adj1" fmla="val 2329374"/>
            </a:avLst>
          </a:prstGeom>
          <a:noFill/>
          <a:ln w="9525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55" name="Google Shape;2047;p27">
            <a:extLst>
              <a:ext uri="{FF2B5EF4-FFF2-40B4-BE49-F238E27FC236}">
                <a16:creationId xmlns:a16="http://schemas.microsoft.com/office/drawing/2014/main" id="{290BB059-F212-415A-AC10-5DEF0D2F722D}"/>
              </a:ext>
            </a:extLst>
          </p:cNvPr>
          <p:cNvSpPr/>
          <p:nvPr/>
        </p:nvSpPr>
        <p:spPr>
          <a:xfrm>
            <a:off x="1008054" y="2489234"/>
            <a:ext cx="2521784" cy="1476535"/>
          </a:xfrm>
          <a:prstGeom prst="rect">
            <a:avLst/>
          </a:prstGeom>
          <a:solidFill>
            <a:srgbClr val="F2F2F2">
              <a:alpha val="64000"/>
            </a:srgbClr>
          </a:solidFill>
          <a:ln w="25400" cap="flat" cmpd="sng">
            <a:solidFill>
              <a:srgbClr val="F2F2F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SzPts val="1400"/>
              <a:buFont typeface="Arial"/>
              <a:buNone/>
            </a:pPr>
            <a:endParaRPr sz="1400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6" name="Picture 32">
            <a:extLst>
              <a:ext uri="{FF2B5EF4-FFF2-40B4-BE49-F238E27FC236}">
                <a16:creationId xmlns:a16="http://schemas.microsoft.com/office/drawing/2014/main" id="{88EBF767-E687-4A0F-8159-0B5BB892F9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915" y="6232062"/>
            <a:ext cx="1076325" cy="54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8187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Ανασκόπηση">
  <a:themeElements>
    <a:clrScheme name="Ανασκόπηση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Ανασκόπηση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Ανασκόπηση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12</TotalTime>
  <Words>873</Words>
  <Application>Microsoft Office PowerPoint</Application>
  <PresentationFormat>Ευρεία οθόνη</PresentationFormat>
  <Paragraphs>91</Paragraphs>
  <Slides>5</Slides>
  <Notes>1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5</vt:i4>
      </vt:variant>
      <vt:variant>
        <vt:lpstr>Θέμα</vt:lpstr>
      </vt:variant>
      <vt:variant>
        <vt:i4>2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Georgia</vt:lpstr>
      <vt:lpstr>Noto Sans Symbols</vt:lpstr>
      <vt:lpstr>Office Theme</vt:lpstr>
      <vt:lpstr>Ανασκόπηση</vt:lpstr>
      <vt:lpstr>think-cell Slide</vt:lpstr>
      <vt:lpstr>Διεύθυνση Διαχείρισης Εθνικού Προγράμματος Δημοσίων Επενδύσεων (ΔιΔιΕΠ)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na Vasileiadi (GR)</dc:creator>
  <cp:lastModifiedBy>Γρουζής, Διονύσης</cp:lastModifiedBy>
  <cp:revision>71</cp:revision>
  <dcterms:created xsi:type="dcterms:W3CDTF">2022-03-08T12:28:21Z</dcterms:created>
  <dcterms:modified xsi:type="dcterms:W3CDTF">2023-08-02T09:21:45Z</dcterms:modified>
</cp:coreProperties>
</file>